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6" r:id="rId1"/>
  </p:sldMasterIdLst>
  <p:notesMasterIdLst>
    <p:notesMasterId r:id="rId7"/>
  </p:notesMasterIdLst>
  <p:sldIdLst>
    <p:sldId id="295" r:id="rId2"/>
    <p:sldId id="274" r:id="rId3"/>
    <p:sldId id="294" r:id="rId4"/>
    <p:sldId id="293" r:id="rId5"/>
    <p:sldId id="291" r:id="rId6"/>
  </p:sldIdLst>
  <p:sldSz cx="12192000" cy="6858000"/>
  <p:notesSz cx="7102475" cy="89916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Dosis" panose="020B0604020202020204" charset="0"/>
      <p:regular r:id="rId12"/>
      <p:bold r:id="rId13"/>
    </p:embeddedFont>
    <p:embeddedFont>
      <p:font typeface="Source Sans Pro" panose="020B050303040302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oundtripDataSignature="AMtx7mgadUdIU+S6umSfNgCcTuOdWtvndg==" r:id="rId47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sy M Giacoman" initials="" lastIdx="1" clrIdx="0"/>
  <p:cmAuthor id="1" name="Sofía Sada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743"/>
    <a:srgbClr val="9CB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BE57F34-2C81-4C7C-A16B-45A069814D99}">
  <a:tblStyle styleId="{BBE57F34-2C81-4C7C-A16B-45A069814D9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2F2F2"/>
          </a:solidFill>
        </a:fill>
      </a:tcStyle>
    </a:wholeTbl>
    <a:band1H>
      <a:tcTxStyle b="off" i="off"/>
      <a:tcStyle>
        <a:tcBdr/>
        <a:fill>
          <a:solidFill>
            <a:srgbClr val="E4E4E4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4E4E4"/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2F2F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/>
        <a:fill>
          <a:solidFill>
            <a:srgbClr val="F2F2F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85965" autoAdjust="0"/>
  </p:normalViewPr>
  <p:slideViewPr>
    <p:cSldViewPr snapToGrid="0">
      <p:cViewPr>
        <p:scale>
          <a:sx n="65" d="100"/>
          <a:sy n="65" d="100"/>
        </p:scale>
        <p:origin x="100" y="-8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ags" Target="tags/tag1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47" Type="http://customschemas.google.com/relationships/presentationmetadata" Target="metadata"/><Relationship Id="rId50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49" Type="http://schemas.openxmlformats.org/officeDocument/2006/relationships/presProps" Target="presProps.xml"/><Relationship Id="rId10" Type="http://schemas.openxmlformats.org/officeDocument/2006/relationships/font" Target="fonts/font3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4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2725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2725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p16:notes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54" name="Google Shape;5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4"/>
          <p:cNvSpPr/>
          <p:nvPr/>
        </p:nvSpPr>
        <p:spPr>
          <a:xfrm flipH="1">
            <a:off x="-100" y="0"/>
            <a:ext cx="8928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24"/>
          <p:cNvSpPr/>
          <p:nvPr/>
        </p:nvSpPr>
        <p:spPr>
          <a:xfrm flipH="1">
            <a:off x="-100" y="0"/>
            <a:ext cx="892800" cy="15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24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4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Font typeface="Source Sans Pro"/>
              <a:buChar char="◆"/>
              <a:defRPr sz="260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▸"/>
              <a:defRPr/>
            </a:lvl2pPr>
            <a:lvl3pPr marL="1371600" lvl="2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⬩"/>
              <a:defRPr/>
            </a:lvl3pPr>
            <a:lvl4pPr marL="1828800" lvl="3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⬞"/>
              <a:defRPr sz="3200"/>
            </a:lvl4pPr>
            <a:lvl5pPr marL="2286000" lvl="4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2743200" lvl="5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3200400" lvl="6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3657600" lvl="7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4114800" lvl="8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38" name="Google Shape;38;p24"/>
          <p:cNvSpPr txBox="1"/>
          <p:nvPr/>
        </p:nvSpPr>
        <p:spPr>
          <a:xfrm>
            <a:off x="2049037" y="533800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fld id="{00000000-1234-1234-1234-123412341234}" type="slidenum">
              <a:rPr lang="en-US"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3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24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9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822873-37F7-4DB9-87FB-45F268A69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600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Google Shape;136;p25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9pPr>
          </a:lstStyle>
          <a:p>
            <a:endParaRPr/>
          </a:p>
        </p:txBody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191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Source Sans Pro"/>
              <a:buChar char="▹"/>
              <a:defRPr sz="3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▸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⬩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⬞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Google Shape;138;p25"/>
          <p:cNvSpPr txBox="1">
            <a:spLocks noGrp="1"/>
          </p:cNvSpPr>
          <p:nvPr>
            <p:ph type="sldNum" idx="12"/>
          </p:nvPr>
        </p:nvSpPr>
        <p:spPr>
          <a:xfrm>
            <a:off x="-100" y="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051FEB-9F4A-4209-A741-C5A979E4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62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CDFDC-980B-46B4-856E-D00EF7346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nco is a platform that enables company to offer education as a benefit to its employe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9B0CDF-37E5-4A6A-86A2-585109A0C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</a:t>
            </a:r>
          </a:p>
          <a:p>
            <a:pPr lvl="1"/>
            <a:r>
              <a:rPr lang="en-US" dirty="0"/>
              <a:t>Vinco is a startup that looks to educate the uneducated</a:t>
            </a:r>
          </a:p>
          <a:p>
            <a:pPr lvl="1"/>
            <a:r>
              <a:rPr lang="en-US" dirty="0"/>
              <a:t>Vinco links education institutions, employers and employees through a webapp</a:t>
            </a:r>
          </a:p>
          <a:p>
            <a:pPr lvl="1"/>
            <a:r>
              <a:rPr lang="en-US" dirty="0"/>
              <a:t>Vinco offers coaches that help users (employees) navigate through education and professional opportunities</a:t>
            </a:r>
          </a:p>
          <a:p>
            <a:pPr lvl="1"/>
            <a:r>
              <a:rPr lang="en-US" dirty="0"/>
              <a:t>Coaches keep track of their assigned students through their education/career prog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BC3A-C1CF-4429-A1B9-9DBA541E8D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1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6"/>
          <p:cNvSpPr txBox="1">
            <a:spLocks noGrp="1"/>
          </p:cNvSpPr>
          <p:nvPr>
            <p:ph type="title"/>
          </p:nvPr>
        </p:nvSpPr>
        <p:spPr>
          <a:xfrm>
            <a:off x="1125899" y="7464"/>
            <a:ext cx="10481901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/>
              <a:t>User story wireframe – Log in for Coaches</a:t>
            </a:r>
            <a:endParaRPr dirty="0"/>
          </a:p>
        </p:txBody>
      </p:sp>
      <p:sp>
        <p:nvSpPr>
          <p:cNvPr id="557" name="Google Shape;557;p16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6F7988-D6E6-4F98-8782-6E4C0DF44ED8}"/>
              </a:ext>
            </a:extLst>
          </p:cNvPr>
          <p:cNvSpPr/>
          <p:nvPr/>
        </p:nvSpPr>
        <p:spPr>
          <a:xfrm>
            <a:off x="1910080" y="1849120"/>
            <a:ext cx="8575040" cy="33423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88E7F-96AC-4D14-963F-4E64968478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748"/>
          <a:stretch/>
        </p:blipFill>
        <p:spPr>
          <a:xfrm>
            <a:off x="4054564" y="2214716"/>
            <a:ext cx="4082871" cy="26111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49DAD6-81BF-4CF5-BE61-70C81E51ED74}"/>
              </a:ext>
            </a:extLst>
          </p:cNvPr>
          <p:cNvSpPr txBox="1"/>
          <p:nvPr/>
        </p:nvSpPr>
        <p:spPr>
          <a:xfrm>
            <a:off x="1910080" y="5339535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log in to my coach accou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FA0C06-97D9-469E-A606-DF2AD6AD5D56}"/>
              </a:ext>
            </a:extLst>
          </p:cNvPr>
          <p:cNvSpPr txBox="1"/>
          <p:nvPr/>
        </p:nvSpPr>
        <p:spPr>
          <a:xfrm>
            <a:off x="1910080" y="5709000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trying to recover my passwor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C2C46-D32E-43F3-A8C9-E7EBD7F7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eneral Roste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BF5A58-9245-4B02-9DDB-9E019B5867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B7F621-988A-437E-BCA3-7FBF5429F3BD}"/>
              </a:ext>
            </a:extLst>
          </p:cNvPr>
          <p:cNvSpPr/>
          <p:nvPr/>
        </p:nvSpPr>
        <p:spPr>
          <a:xfrm>
            <a:off x="1910080" y="1849120"/>
            <a:ext cx="8575040" cy="35192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7B39EF-DA10-48BD-8EEC-24C07D4DE5D8}"/>
              </a:ext>
            </a:extLst>
          </p:cNvPr>
          <p:cNvSpPr txBox="1"/>
          <p:nvPr/>
        </p:nvSpPr>
        <p:spPr>
          <a:xfrm>
            <a:off x="1910080" y="5536180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know how many students I have in charg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19B6A5E-C42D-4743-9EFE-FA46A5C8FEE8}"/>
              </a:ext>
            </a:extLst>
          </p:cNvPr>
          <p:cNvSpPr/>
          <p:nvPr/>
        </p:nvSpPr>
        <p:spPr>
          <a:xfrm>
            <a:off x="2255520" y="2104889"/>
            <a:ext cx="570001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nrolled studen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EC27EAF-EBA2-4F6D-B0D3-0D8869E415A3}"/>
              </a:ext>
            </a:extLst>
          </p:cNvPr>
          <p:cNvSpPr/>
          <p:nvPr/>
        </p:nvSpPr>
        <p:spPr>
          <a:xfrm>
            <a:off x="8278218" y="2104889"/>
            <a:ext cx="1884219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New </a:t>
            </a:r>
            <a:r>
              <a:rPr lang="es-MX" dirty="0" err="1">
                <a:latin typeface="Calibri" panose="020F0502020204030204" pitchFamily="34" charset="0"/>
                <a:cs typeface="Calibri" panose="020F0502020204030204" pitchFamily="34" charset="0"/>
              </a:rPr>
              <a:t>students</a:t>
            </a:r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latin typeface="Calibri" panose="020F0502020204030204" pitchFamily="34" charset="0"/>
                <a:cs typeface="Calibri" panose="020F0502020204030204" pitchFamily="34" charset="0"/>
              </a:rPr>
              <a:t>waiting</a:t>
            </a:r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 to be </a:t>
            </a:r>
            <a:r>
              <a:rPr lang="es-MX" dirty="0" err="1">
                <a:latin typeface="Calibri" panose="020F0502020204030204" pitchFamily="34" charset="0"/>
                <a:cs typeface="Calibri" panose="020F0502020204030204" pitchFamily="34" charset="0"/>
              </a:rPr>
              <a:t>enrolled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910FEE-5B0B-4E50-B62D-2D142895AC35}"/>
              </a:ext>
            </a:extLst>
          </p:cNvPr>
          <p:cNvSpPr txBox="1"/>
          <p:nvPr/>
        </p:nvSpPr>
        <p:spPr>
          <a:xfrm>
            <a:off x="2393171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# of enrolled stud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940B7B-7DF4-43AB-B155-0E3930AA0424}"/>
              </a:ext>
            </a:extLst>
          </p:cNvPr>
          <p:cNvSpPr txBox="1"/>
          <p:nvPr/>
        </p:nvSpPr>
        <p:spPr>
          <a:xfrm>
            <a:off x="2393171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B87305-6DB9-4D69-8FEA-475EB7E82A60}"/>
              </a:ext>
            </a:extLst>
          </p:cNvPr>
          <p:cNvSpPr txBox="1"/>
          <p:nvPr/>
        </p:nvSpPr>
        <p:spPr>
          <a:xfrm>
            <a:off x="4467778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Dropped out stud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3E03C-26FD-4297-AF10-EF7C63A07B11}"/>
              </a:ext>
            </a:extLst>
          </p:cNvPr>
          <p:cNvSpPr txBox="1"/>
          <p:nvPr/>
        </p:nvSpPr>
        <p:spPr>
          <a:xfrm>
            <a:off x="4467778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C5CA1F-7D36-4A64-AC3D-B24E2DC4E8C0}"/>
              </a:ext>
            </a:extLst>
          </p:cNvPr>
          <p:cNvSpPr txBox="1"/>
          <p:nvPr/>
        </p:nvSpPr>
        <p:spPr>
          <a:xfrm>
            <a:off x="6345739" y="3971796"/>
            <a:ext cx="150040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Failing stud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0CB944-9D56-4202-96D2-FC634F6EB309}"/>
              </a:ext>
            </a:extLst>
          </p:cNvPr>
          <p:cNvSpPr txBox="1"/>
          <p:nvPr/>
        </p:nvSpPr>
        <p:spPr>
          <a:xfrm>
            <a:off x="6345739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C3B999-C452-49D0-961D-31482FC2401E}"/>
              </a:ext>
            </a:extLst>
          </p:cNvPr>
          <p:cNvSpPr txBox="1"/>
          <p:nvPr/>
        </p:nvSpPr>
        <p:spPr>
          <a:xfrm>
            <a:off x="8521618" y="342162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Students contac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7BDC8-C8B0-423E-8481-3AAC8D8608B9}"/>
              </a:ext>
            </a:extLst>
          </p:cNvPr>
          <p:cNvSpPr txBox="1"/>
          <p:nvPr/>
        </p:nvSpPr>
        <p:spPr>
          <a:xfrm>
            <a:off x="8521618" y="276639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F89A3E-44DA-43E8-8645-498D678A542F}"/>
              </a:ext>
            </a:extLst>
          </p:cNvPr>
          <p:cNvSpPr txBox="1"/>
          <p:nvPr/>
        </p:nvSpPr>
        <p:spPr>
          <a:xfrm>
            <a:off x="8521618" y="4579718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Students waiting to be contact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EE8B43-5944-425B-91FF-986F9B536236}"/>
              </a:ext>
            </a:extLst>
          </p:cNvPr>
          <p:cNvSpPr txBox="1"/>
          <p:nvPr/>
        </p:nvSpPr>
        <p:spPr>
          <a:xfrm>
            <a:off x="8521618" y="3924492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8440BF-651D-46F0-9B2F-AD5873BE8C85}"/>
              </a:ext>
            </a:extLst>
          </p:cNvPr>
          <p:cNvSpPr txBox="1"/>
          <p:nvPr/>
        </p:nvSpPr>
        <p:spPr>
          <a:xfrm>
            <a:off x="1910080" y="5857835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know how my students are do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17B23D-5121-4714-904F-35189B35516D}"/>
              </a:ext>
            </a:extLst>
          </p:cNvPr>
          <p:cNvSpPr txBox="1"/>
          <p:nvPr/>
        </p:nvSpPr>
        <p:spPr>
          <a:xfrm>
            <a:off x="1910080" y="6179490"/>
            <a:ext cx="89740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know how many students are waiting to be enrolled</a:t>
            </a:r>
          </a:p>
        </p:txBody>
      </p:sp>
    </p:spTree>
    <p:extLst>
      <p:ext uri="{BB962C8B-B14F-4D97-AF65-F5344CB8AC3E}">
        <p14:creationId xmlns:p14="http://schemas.microsoft.com/office/powerpoint/2010/main" val="788057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to see assigned students and stat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7675E61-BB09-44E0-AF05-8F0BC094FFCD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CCEB5B-406F-4FA4-B6F0-2C985CD85CE8}"/>
              </a:ext>
            </a:extLst>
          </p:cNvPr>
          <p:cNvSpPr/>
          <p:nvPr/>
        </p:nvSpPr>
        <p:spPr>
          <a:xfrm>
            <a:off x="6877422" y="2458852"/>
            <a:ext cx="1047477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tivation Leve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F4BB9A-F606-44E9-830B-018EF3E1E3BD}"/>
              </a:ext>
            </a:extLst>
          </p:cNvPr>
          <p:cNvSpPr/>
          <p:nvPr/>
        </p:nvSpPr>
        <p:spPr>
          <a:xfrm>
            <a:off x="8049892" y="2458852"/>
            <a:ext cx="124493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ast contac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DB9D4CA-BBF9-498D-8726-0F02D0D0E33A}"/>
              </a:ext>
            </a:extLst>
          </p:cNvPr>
          <p:cNvSpPr/>
          <p:nvPr/>
        </p:nvSpPr>
        <p:spPr>
          <a:xfrm>
            <a:off x="9419817" y="2458852"/>
            <a:ext cx="780823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atu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9D4B735-EF0C-46B6-BF17-82E78953AD84}"/>
              </a:ext>
            </a:extLst>
          </p:cNvPr>
          <p:cNvSpPr/>
          <p:nvPr/>
        </p:nvSpPr>
        <p:spPr>
          <a:xfrm>
            <a:off x="3796154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2136E7B5-873D-4066-B7E5-81952F8F4F14}"/>
              </a:ext>
            </a:extLst>
          </p:cNvPr>
          <p:cNvSpPr/>
          <p:nvPr/>
        </p:nvSpPr>
        <p:spPr>
          <a:xfrm>
            <a:off x="3196082" y="4772463"/>
            <a:ext cx="1816740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 click on student 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C7C1C1D-0723-4E1F-A31A-029F1BD3BCBA}"/>
              </a:ext>
            </a:extLst>
          </p:cNvPr>
          <p:cNvSpPr/>
          <p:nvPr/>
        </p:nvSpPr>
        <p:spPr>
          <a:xfrm>
            <a:off x="5336788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71CBD9-97A0-4831-BFEC-6988C10E39E0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F34BD-599B-4ECD-979C-05B8F039B455}"/>
              </a:ext>
            </a:extLst>
          </p:cNvPr>
          <p:cNvSpPr txBox="1"/>
          <p:nvPr/>
        </p:nvSpPr>
        <p:spPr>
          <a:xfrm>
            <a:off x="6894465" y="3114299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025C2D-E17D-497B-AFB1-18F4E5B319AF}"/>
              </a:ext>
            </a:extLst>
          </p:cNvPr>
          <p:cNvSpPr txBox="1"/>
          <p:nvPr/>
        </p:nvSpPr>
        <p:spPr>
          <a:xfrm>
            <a:off x="8244634" y="3114299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784E04-2E54-4F0D-8AD1-ED4850BB2E8C}"/>
              </a:ext>
            </a:extLst>
          </p:cNvPr>
          <p:cNvSpPr/>
          <p:nvPr/>
        </p:nvSpPr>
        <p:spPr>
          <a:xfrm>
            <a:off x="9709876" y="3136108"/>
            <a:ext cx="264160" cy="264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D3F6-3727-4209-AE78-64B04F66005F}"/>
              </a:ext>
            </a:extLst>
          </p:cNvPr>
          <p:cNvSpPr txBox="1"/>
          <p:nvPr/>
        </p:nvSpPr>
        <p:spPr>
          <a:xfrm>
            <a:off x="38184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9871C1-EF48-4D4E-ADE2-798F0485FA86}"/>
              </a:ext>
            </a:extLst>
          </p:cNvPr>
          <p:cNvSpPr txBox="1"/>
          <p:nvPr/>
        </p:nvSpPr>
        <p:spPr>
          <a:xfrm>
            <a:off x="5374859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E1BB3-E04A-42B5-B192-CF1B3F40D256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3F8FA-64BC-4898-9BA7-4704B2901563}"/>
              </a:ext>
            </a:extLst>
          </p:cNvPr>
          <p:cNvSpPr txBox="1"/>
          <p:nvPr/>
        </p:nvSpPr>
        <p:spPr>
          <a:xfrm>
            <a:off x="6894465" y="3749302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2D6F0-4DFC-4526-97DD-5BBF7A8BE11A}"/>
              </a:ext>
            </a:extLst>
          </p:cNvPr>
          <p:cNvSpPr txBox="1"/>
          <p:nvPr/>
        </p:nvSpPr>
        <p:spPr>
          <a:xfrm>
            <a:off x="8244634" y="3749301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5B59CA-1470-4F5A-96F4-97BCCA715C57}"/>
              </a:ext>
            </a:extLst>
          </p:cNvPr>
          <p:cNvSpPr/>
          <p:nvPr/>
        </p:nvSpPr>
        <p:spPr>
          <a:xfrm>
            <a:off x="9709876" y="3771110"/>
            <a:ext cx="264160" cy="26416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479581-8EB1-4B20-AEED-A6FAD49BB1FA}"/>
              </a:ext>
            </a:extLst>
          </p:cNvPr>
          <p:cNvSpPr txBox="1"/>
          <p:nvPr/>
        </p:nvSpPr>
        <p:spPr>
          <a:xfrm>
            <a:off x="38184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2836FB7-93F7-419B-AF0A-F244A0E54DF4}"/>
              </a:ext>
            </a:extLst>
          </p:cNvPr>
          <p:cNvSpPr txBox="1"/>
          <p:nvPr/>
        </p:nvSpPr>
        <p:spPr>
          <a:xfrm>
            <a:off x="5374859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F86AA-EF46-438E-89D7-26B7477532C6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426E6C-0F8E-4C33-8CF1-4D844059BAA7}"/>
              </a:ext>
            </a:extLst>
          </p:cNvPr>
          <p:cNvSpPr txBox="1"/>
          <p:nvPr/>
        </p:nvSpPr>
        <p:spPr>
          <a:xfrm>
            <a:off x="6894465" y="4384304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BE0386-4FCE-4612-B372-1844DB4C9EC4}"/>
              </a:ext>
            </a:extLst>
          </p:cNvPr>
          <p:cNvSpPr txBox="1"/>
          <p:nvPr/>
        </p:nvSpPr>
        <p:spPr>
          <a:xfrm>
            <a:off x="8244634" y="4384303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397F872-E36B-41A9-B05E-66139CD16F5A}"/>
              </a:ext>
            </a:extLst>
          </p:cNvPr>
          <p:cNvSpPr/>
          <p:nvPr/>
        </p:nvSpPr>
        <p:spPr>
          <a:xfrm>
            <a:off x="9709876" y="4406112"/>
            <a:ext cx="264160" cy="2641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46117-9F41-4309-852C-BDC3DE0FE27C}"/>
              </a:ext>
            </a:extLst>
          </p:cNvPr>
          <p:cNvSpPr txBox="1"/>
          <p:nvPr/>
        </p:nvSpPr>
        <p:spPr>
          <a:xfrm>
            <a:off x="38184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2BDA3F-B28B-406B-8A7F-0A03C5AE00F0}"/>
              </a:ext>
            </a:extLst>
          </p:cNvPr>
          <p:cNvSpPr txBox="1"/>
          <p:nvPr/>
        </p:nvSpPr>
        <p:spPr>
          <a:xfrm>
            <a:off x="5374859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20556E-D326-4049-819F-47C0CA33E33B}"/>
              </a:ext>
            </a:extLst>
          </p:cNvPr>
          <p:cNvSpPr txBox="1"/>
          <p:nvPr/>
        </p:nvSpPr>
        <p:spPr>
          <a:xfrm>
            <a:off x="1910080" y="5840361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how all my current students are do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2741090-D331-4050-9EC3-3B6DEF0F98CD}"/>
              </a:ext>
            </a:extLst>
          </p:cNvPr>
          <p:cNvSpPr txBox="1"/>
          <p:nvPr/>
        </p:nvSpPr>
        <p:spPr>
          <a:xfrm>
            <a:off x="1910080" y="6190894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what students I must contact</a:t>
            </a:r>
          </a:p>
        </p:txBody>
      </p:sp>
    </p:spTree>
    <p:extLst>
      <p:ext uri="{BB962C8B-B14F-4D97-AF65-F5344CB8AC3E}">
        <p14:creationId xmlns:p14="http://schemas.microsoft.com/office/powerpoint/2010/main" val="14829189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uble click to see communication frequency with students and let coach know they need to reach 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6667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7BD0054-4151-479C-A676-824FE1D08272}"/>
              </a:ext>
            </a:extLst>
          </p:cNvPr>
          <p:cNvSpPr/>
          <p:nvPr/>
        </p:nvSpPr>
        <p:spPr>
          <a:xfrm>
            <a:off x="3785419" y="2229200"/>
            <a:ext cx="2852406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ersa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4AA4ECE-3BDC-44CC-B5D7-42193640E35C}"/>
              </a:ext>
            </a:extLst>
          </p:cNvPr>
          <p:cNvSpPr/>
          <p:nvPr/>
        </p:nvSpPr>
        <p:spPr>
          <a:xfrm>
            <a:off x="6951406" y="2229200"/>
            <a:ext cx="3220133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oac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D6D85A-6112-4AF7-B35F-59B3899D0AF6}"/>
              </a:ext>
            </a:extLst>
          </p:cNvPr>
          <p:cNvSpPr txBox="1"/>
          <p:nvPr/>
        </p:nvSpPr>
        <p:spPr>
          <a:xfrm>
            <a:off x="3785419" y="2857635"/>
            <a:ext cx="2852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. (App. questions, trouble with program, etc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98EC6F-30F3-45AE-8613-BE747437ED0F}"/>
              </a:ext>
            </a:extLst>
          </p:cNvPr>
          <p:cNvSpPr txBox="1"/>
          <p:nvPr/>
        </p:nvSpPr>
        <p:spPr>
          <a:xfrm>
            <a:off x="6951406" y="2857635"/>
            <a:ext cx="32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ach not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52211-41BA-42EF-B030-58FCFA00A583}"/>
              </a:ext>
            </a:extLst>
          </p:cNvPr>
          <p:cNvSpPr txBox="1"/>
          <p:nvPr/>
        </p:nvSpPr>
        <p:spPr>
          <a:xfrm>
            <a:off x="1910080" y="5840361"/>
            <a:ext cx="7814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notes on my previous conversations with stud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F6587EB-2563-4281-BFF4-517B3994908E}"/>
              </a:ext>
            </a:extLst>
          </p:cNvPr>
          <p:cNvSpPr/>
          <p:nvPr/>
        </p:nvSpPr>
        <p:spPr>
          <a:xfrm>
            <a:off x="2345639" y="2229200"/>
            <a:ext cx="1126199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B4756-8534-48E0-95FC-5F96A0788090}"/>
              </a:ext>
            </a:extLst>
          </p:cNvPr>
          <p:cNvSpPr txBox="1"/>
          <p:nvPr/>
        </p:nvSpPr>
        <p:spPr>
          <a:xfrm>
            <a:off x="2359217" y="2857635"/>
            <a:ext cx="1126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56549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245cb48-36f6-4855-a0c3-19564cc8b6b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imon template">
  <a:themeElements>
    <a:clrScheme name="Custom 1">
      <a:dk1>
        <a:srgbClr val="415665"/>
      </a:dk1>
      <a:lt1>
        <a:srgbClr val="FFFFFF"/>
      </a:lt1>
      <a:dk2>
        <a:srgbClr val="02AA9A"/>
      </a:dk2>
      <a:lt2>
        <a:srgbClr val="F6F6F6"/>
      </a:lt2>
      <a:accent1>
        <a:srgbClr val="2DD3C3"/>
      </a:accent1>
      <a:accent2>
        <a:srgbClr val="A7E5E9"/>
      </a:accent2>
      <a:accent3>
        <a:srgbClr val="A9D039"/>
      </a:accent3>
      <a:accent4>
        <a:srgbClr val="FFBC00"/>
      </a:accent4>
      <a:accent5>
        <a:srgbClr val="F24745"/>
      </a:accent5>
      <a:accent6>
        <a:srgbClr val="B3B3B3"/>
      </a:accent6>
      <a:hlink>
        <a:srgbClr val="0DB7C4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38</TotalTime>
  <Words>330</Words>
  <Application>Microsoft Office PowerPoint</Application>
  <PresentationFormat>Widescreen</PresentationFormat>
  <Paragraphs>63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Source Sans Pro</vt:lpstr>
      <vt:lpstr>Calibri</vt:lpstr>
      <vt:lpstr>Arial</vt:lpstr>
      <vt:lpstr>Dosis</vt:lpstr>
      <vt:lpstr>Cerimon template</vt:lpstr>
      <vt:lpstr>think-cell Slide</vt:lpstr>
      <vt:lpstr>Vinco is a platform that enables company to offer education as a benefit to its employees</vt:lpstr>
      <vt:lpstr>User story wireframe – Log in for Coaches</vt:lpstr>
      <vt:lpstr>General Roster</vt:lpstr>
      <vt:lpstr>Dashboard to see assigned students and status</vt:lpstr>
      <vt:lpstr>Double click to see communication frequency with students and let coach know they need to reach 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nco</dc:title>
  <dc:creator>Lissy</dc:creator>
  <cp:lastModifiedBy>Sebastian Guevara</cp:lastModifiedBy>
  <cp:revision>118</cp:revision>
  <dcterms:created xsi:type="dcterms:W3CDTF">2020-06-26T18:06:53Z</dcterms:created>
  <dcterms:modified xsi:type="dcterms:W3CDTF">2021-02-26T20:13:26Z</dcterms:modified>
</cp:coreProperties>
</file>